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2146845419" r:id="rId5"/>
    <p:sldId id="2146845413" r:id="rId6"/>
    <p:sldId id="2146845420" r:id="rId7"/>
    <p:sldId id="2146845416" r:id="rId8"/>
    <p:sldId id="2146845421" r:id="rId9"/>
    <p:sldId id="2146845415" r:id="rId10"/>
    <p:sldId id="2146845422" r:id="rId11"/>
    <p:sldId id="2146845418" r:id="rId12"/>
    <p:sldId id="2146845417" r:id="rId13"/>
    <p:sldId id="2146845414" r:id="rId14"/>
    <p:sldId id="2146845400" r:id="rId15"/>
    <p:sldId id="2146845399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B3D91-2085-4C80-8C54-03ACF2F645B4}" v="47" dt="2021-04-14T15:39:37.2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1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378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043099-E218-4C98-9781-5672A1760E82}" type="datetimeFigureOut">
              <a:rPr lang="en-GB" smtClean="0"/>
              <a:t>04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580142-291F-4AF6-891D-509A68B6DE5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192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#1</a:t>
            </a:r>
          </a:p>
          <a:p>
            <a:r>
              <a:rPr lang="en-CA" dirty="0"/>
              <a:t>Mavericks lowest priority as they will already try new things on their own.</a:t>
            </a:r>
          </a:p>
          <a:p>
            <a:r>
              <a:rPr lang="en-CA" dirty="0"/>
              <a:t>Pragmatists are using JAKs so we need to demonstrate that there is still a need for a new/different </a:t>
            </a:r>
            <a:r>
              <a:rPr lang="en-CA" dirty="0" err="1"/>
              <a:t>JAKi</a:t>
            </a:r>
            <a:endParaRPr lang="en-CA" dirty="0"/>
          </a:p>
          <a:p>
            <a:endParaRPr lang="en-CA" dirty="0"/>
          </a:p>
          <a:p>
            <a:r>
              <a:rPr lang="en-CA" dirty="0"/>
              <a:t>#2</a:t>
            </a:r>
          </a:p>
          <a:p>
            <a:r>
              <a:rPr lang="en-CA" dirty="0"/>
              <a:t>Mavericks are most likely be early adopters and also share their experience so we want to ensure they have early positive experience</a:t>
            </a:r>
          </a:p>
          <a:p>
            <a:r>
              <a:rPr lang="en-CA" dirty="0"/>
              <a:t>Pragmatists tend to bend the rules to solve problems, focusing on safety provides a strong reason to believe</a:t>
            </a:r>
          </a:p>
          <a:p>
            <a:r>
              <a:rPr lang="en-CA" dirty="0"/>
              <a:t>Compassionates will want to hear from and be reassured by peers so important to get the other two comfortable first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most concerned with safety – need to differentiate on safety to achieve earlier us and differentiate against RINVO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third because they will try anyway and also form their own opinion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4 and #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first because they are more likely to be long-term advoc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second because want to keep them interested in JYSELECA by giving them a platform but they may move on to other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Compassionates last because they will wait to hear from M and P – so we need M and P on board and sharing their stories</a:t>
            </a:r>
          </a:p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A5F5EB-E4E0-4709-9BD7-A22EE9051C1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336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463477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635173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2743709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32148435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84057177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12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789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752629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9685413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815360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61494429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410457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42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05049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423130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767674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37651589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19" imgH="520" progId="TCLayout.ActiveDocument.1">
                  <p:embed/>
                </p:oleObj>
              </mc:Choice>
              <mc:Fallback>
                <p:oleObj name="think-cell Slide" r:id="rId18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6D2B4-FB50-48FD-BF63-98D499C497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D Adoption Ladder Templ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413840"/>
      </p:ext>
    </p:extLst>
  </p:cSld>
  <p:clrMapOvr>
    <a:masterClrMapping/>
  </p:clrMapOvr>
  <p:transition>
    <p:wipe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094F18B-6F8D-430D-9089-26882B60B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RA Examp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190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lacency/habit/inerti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w MOA Required for Chan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-HCP Connec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-19 </a:t>
            </a:r>
            <a:r>
              <a:rPr kumimoji="0" lang="en-GB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ext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– access to ca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ly competitive environment with comparisons between treatments hard to make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as proof of concept (and to share with peers)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Reflects on early JYSELECA experience &amp; positive efficacy outcomes compared with other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peer-to peer discussion with local colleagues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discussion with local expert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wareness &amp; Acce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ccess to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access to samp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experience with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familiarity with Galapagos and new relationship with rep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ifferenti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erceived lack of differentiation from RINVO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ees no difference in clinic relative to RINVOQ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Safety Hal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sidual JAK concerns from 1</a:t>
            </a:r>
            <a:r>
              <a:rPr kumimoji="0" lang="en-GB" sz="7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gener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linical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as a negative experience in a patient in first few patien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ifferentiate JYSELECA versus other JAKs, especially RINVOQ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as their ‘go to’ JA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is the main concer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&amp; simplicity are importa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their current JAK and no reason to chan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a Variety of Produc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to have a wide armamentarium, rather than a go-t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ke to keep options open as new entries emer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Around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certainty around available JYSELELCA support services for HCPs and patien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etitive messaging and share of v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create an environment that facilitates exchange of positive experienc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hares positive experiences with colleagu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Gains depth of experience in patients where safety is a concer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experiences that temper their enthusiasm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identify, support, and create a platform for JYSELECA advoca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dvocates JYSELECA as JAK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Expands the use of JYSELECA to different types of patients so ultimately JYSELECA becomes JAK of choi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tarts to use JYSELECA as first line JAK inhibit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 not have a JAK of choice and philosophically opposed to aligning with one produc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38DA2F1-F038-4ACA-9D9F-78930637013E}"/>
              </a:ext>
            </a:extLst>
          </p:cNvPr>
          <p:cNvSpPr/>
          <p:nvPr/>
        </p:nvSpPr>
        <p:spPr bwMode="auto">
          <a:xfrm>
            <a:off x="1102744" y="323932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78946BA-BFB6-4216-BF5F-2BF55FDE300F}"/>
              </a:ext>
            </a:extLst>
          </p:cNvPr>
          <p:cNvSpPr/>
          <p:nvPr/>
        </p:nvSpPr>
        <p:spPr bwMode="auto">
          <a:xfrm>
            <a:off x="1102744" y="369086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69D242C-13E7-45D6-B668-9C73312B4327}"/>
              </a:ext>
            </a:extLst>
          </p:cNvPr>
          <p:cNvSpPr/>
          <p:nvPr/>
        </p:nvSpPr>
        <p:spPr bwMode="auto">
          <a:xfrm>
            <a:off x="1102744" y="2828147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E3CCC23-DAA1-4773-9D22-82DE5B280D2A}"/>
              </a:ext>
            </a:extLst>
          </p:cNvPr>
          <p:cNvSpPr/>
          <p:nvPr/>
        </p:nvSpPr>
        <p:spPr bwMode="auto">
          <a:xfrm>
            <a:off x="10031988" y="3107592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B979413-D175-4221-8AC5-17AF72C3CE51}"/>
              </a:ext>
            </a:extLst>
          </p:cNvPr>
          <p:cNvSpPr/>
          <p:nvPr/>
        </p:nvSpPr>
        <p:spPr bwMode="auto">
          <a:xfrm>
            <a:off x="3399532" y="272591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21A083D-A507-492E-8D58-42C0FF1AE629}"/>
              </a:ext>
            </a:extLst>
          </p:cNvPr>
          <p:cNvSpPr/>
          <p:nvPr/>
        </p:nvSpPr>
        <p:spPr bwMode="auto">
          <a:xfrm>
            <a:off x="3399532" y="3138703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2CE52C4-1ACD-4BB3-9B52-C77B9F58DAF4}"/>
              </a:ext>
            </a:extLst>
          </p:cNvPr>
          <p:cNvSpPr/>
          <p:nvPr/>
        </p:nvSpPr>
        <p:spPr bwMode="auto">
          <a:xfrm>
            <a:off x="3389979" y="361122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07BD3E0-A29B-4A0B-B188-D6FF779D45C8}"/>
              </a:ext>
            </a:extLst>
          </p:cNvPr>
          <p:cNvSpPr/>
          <p:nvPr/>
        </p:nvSpPr>
        <p:spPr bwMode="auto">
          <a:xfrm>
            <a:off x="5618326" y="285372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CB86443-8C37-4DC0-AD22-6217F79ADDBB}"/>
              </a:ext>
            </a:extLst>
          </p:cNvPr>
          <p:cNvSpPr/>
          <p:nvPr/>
        </p:nvSpPr>
        <p:spPr bwMode="auto">
          <a:xfrm>
            <a:off x="5618326" y="330368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9DE8271-28C2-4CB3-9D1D-959C0BF508E7}"/>
              </a:ext>
            </a:extLst>
          </p:cNvPr>
          <p:cNvSpPr/>
          <p:nvPr/>
        </p:nvSpPr>
        <p:spPr bwMode="auto">
          <a:xfrm>
            <a:off x="5618326" y="260017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54953AD-19DA-4039-B654-5C3D0F55E1E7}"/>
              </a:ext>
            </a:extLst>
          </p:cNvPr>
          <p:cNvSpPr/>
          <p:nvPr/>
        </p:nvSpPr>
        <p:spPr bwMode="auto">
          <a:xfrm>
            <a:off x="10031988" y="273280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ADF94B4-A07E-436F-ADA8-182D81F14757}"/>
              </a:ext>
            </a:extLst>
          </p:cNvPr>
          <p:cNvSpPr/>
          <p:nvPr/>
        </p:nvSpPr>
        <p:spPr bwMode="auto">
          <a:xfrm>
            <a:off x="10031988" y="342530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037587C-A541-462A-BE76-ABECC923A42F}"/>
              </a:ext>
            </a:extLst>
          </p:cNvPr>
          <p:cNvSpPr/>
          <p:nvPr/>
        </p:nvSpPr>
        <p:spPr bwMode="auto">
          <a:xfrm>
            <a:off x="7784982" y="314351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7DA6051-6FAD-4E50-9798-2E9E7C88E0A7}"/>
              </a:ext>
            </a:extLst>
          </p:cNvPr>
          <p:cNvSpPr/>
          <p:nvPr/>
        </p:nvSpPr>
        <p:spPr bwMode="auto">
          <a:xfrm>
            <a:off x="7784982" y="276873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3856FF6D-CABE-4AAA-8B3F-87D8BB0DF791}"/>
              </a:ext>
            </a:extLst>
          </p:cNvPr>
          <p:cNvSpPr/>
          <p:nvPr/>
        </p:nvSpPr>
        <p:spPr bwMode="auto">
          <a:xfrm>
            <a:off x="7784982" y="3461236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31664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if efficacy is not compromis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eed for more safe treatment options that do not compromise on efficac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cus on unmet needs from a patient perspective – less from an HCP perspectiv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 o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impac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Implementation Guid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earnJAKSta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ublished literature (cost of lack of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t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eachJAKSta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yMentum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drop materia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fficacy, give opportunity to try – make it easy, but they will be interes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incl safety, ref trusted peers/colleagues and hands on experienc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ow availabl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oA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: selectivity (vs 1G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rehensive clinical evidence : 3 CT and long term data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rength of balance story : full strength with safety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 (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ps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 / to be localised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inch vide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vailable publica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(refer to channel preference to maximize interactions by segment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Portal (pending country site map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inforce experience, share additional data freely, seed need to share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 trial and follow up re experience and expansion of tria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hare/encourage patient feedback, patient perspectives, PIO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vide opportunities to share experience and discuss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patient types as experience is gained – give different ‘peg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 opportunities – keeping in mind loyalty can prob not be expec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to lead to JAK of choice ‘peg’]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t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feedback to lead to JAK of choice ‘peg’ and 1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rtnership opportuniti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722127" y="6418504"/>
            <a:ext cx="4042162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ummary of Workshop Discussion (2 of 2)</a:t>
            </a:r>
            <a:endParaRPr kumimoji="0" lang="en-GB" sz="16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222179" y="84014"/>
            <a:ext cx="1222517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F58800"/>
                </a:solidFill>
                <a:latin typeface="Arial" panose="020B0604020202020204"/>
              </a:rPr>
              <a:t>SCIENCE FIRST</a:t>
            </a:r>
          </a:p>
          <a:p>
            <a:pPr algn="ctr" defTabSz="912505">
              <a:defRPr/>
            </a:pPr>
            <a:r>
              <a:rPr lang="en-GB" sz="798" dirty="0">
                <a:solidFill>
                  <a:srgbClr val="F58800"/>
                </a:solidFill>
                <a:latin typeface="Arial" panose="020B0604020202020204"/>
              </a:rPr>
              <a:t>(1 of 2)</a:t>
            </a:r>
            <a:r>
              <a:rPr lang="en-GB" sz="798" b="1" dirty="0">
                <a:solidFill>
                  <a:srgbClr val="F588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139D42E-FCD2-4EF3-880A-36090C99B8E7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5997E58-21CD-4ADC-BACC-D6D83D4DA124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BA1455-7BFB-40AA-8E96-722916EC16DB}"/>
              </a:ext>
            </a:extLst>
          </p:cNvPr>
          <p:cNvSpPr/>
          <p:nvPr/>
        </p:nvSpPr>
        <p:spPr bwMode="auto">
          <a:xfrm>
            <a:off x="1360507" y="2078752"/>
            <a:ext cx="1932115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from current 2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n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/3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r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JAK inhibitor use to JYSELECA 1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in bio-naive</a:t>
            </a:r>
            <a:endParaRPr kumimoji="0" lang="en-US" sz="900" b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F7EB311-D319-47D5-A364-550397D3306C}"/>
              </a:ext>
            </a:extLst>
          </p:cNvPr>
          <p:cNvSpPr/>
          <p:nvPr/>
        </p:nvSpPr>
        <p:spPr bwMode="auto">
          <a:xfrm>
            <a:off x="1372844" y="2933143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Good options now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New </a:t>
            </a:r>
            <a:r>
              <a:rPr lang="en-GB" sz="900" kern="0" dirty="0" err="1">
                <a:solidFill>
                  <a:srgbClr val="585858"/>
                </a:solidFill>
                <a:latin typeface="+mn-lt"/>
                <a:ea typeface="+mn-ea"/>
                <a:cs typeface="+mn-cs"/>
              </a:rPr>
              <a:t>MoAs</a:t>
            </a: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 are no more effectiv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Convenience is not driving long term remission</a:t>
            </a:r>
            <a:endParaRPr lang="en-US" sz="900" kern="0" dirty="0">
              <a:solidFill>
                <a:srgbClr val="585858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8437FD3-0DB7-491D-9AB5-C42DEF333DC5}"/>
              </a:ext>
            </a:extLst>
          </p:cNvPr>
          <p:cNvSpPr/>
          <p:nvPr/>
        </p:nvSpPr>
        <p:spPr bwMode="auto">
          <a:xfrm>
            <a:off x="1380391" y="3582000"/>
            <a:ext cx="1923188" cy="2584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8676A62-1F80-4BAF-870F-21BBC988EBFC}"/>
              </a:ext>
            </a:extLst>
          </p:cNvPr>
          <p:cNvSpPr/>
          <p:nvPr/>
        </p:nvSpPr>
        <p:spPr bwMode="auto">
          <a:xfrm>
            <a:off x="3573437" y="2078752"/>
            <a:ext cx="188561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&amp; trial JYSELECA in a patient who would benefit from a new mode of action and reassured by the mucosal healing &amp; histologic remission achieved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CAFB377-4EBF-492D-B2BE-27F993C425E0}"/>
              </a:ext>
            </a:extLst>
          </p:cNvPr>
          <p:cNvSpPr/>
          <p:nvPr/>
        </p:nvSpPr>
        <p:spPr bwMode="auto">
          <a:xfrm>
            <a:off x="5781404" y="2094427"/>
            <a:ext cx="187944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a wider pool of patients who are not adequately controlled &amp; use JYSELECA to achieve mucosal healing &amp; long-term result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4199C7-E4C6-4A13-80BF-93AC44843603}"/>
              </a:ext>
            </a:extLst>
          </p:cNvPr>
          <p:cNvSpPr/>
          <p:nvPr/>
        </p:nvSpPr>
        <p:spPr bwMode="auto">
          <a:xfrm>
            <a:off x="7983201" y="2094427"/>
            <a:ext cx="1891780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xpand usage of JYSELECA as oral, that does not need steroid and provides the depth of sustained remission that they are looking for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7D3155-9E31-49AC-8BA5-9113FB4A08B1}"/>
              </a:ext>
            </a:extLst>
          </p:cNvPr>
          <p:cNvSpPr/>
          <p:nvPr/>
        </p:nvSpPr>
        <p:spPr bwMode="auto">
          <a:xfrm>
            <a:off x="10197335" y="2078752"/>
            <a:ext cx="1850151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 dirty="0">
                <a:solidFill>
                  <a:srgbClr val="00463E"/>
                </a:solidFill>
                <a:latin typeface="+mj-lt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33862" y="601463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3604139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</a:t>
            </a:r>
            <a:r>
              <a:rPr lang="en-GB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onotherapy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3605968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3602270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3613567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baseline="0" dirty="0">
                <a:solidFill>
                  <a:srgbClr val="00463E"/>
                </a:solidFill>
              </a:rPr>
              <a:t>Identify</a:t>
            </a:r>
            <a:r>
              <a:rPr lang="en-GB" sz="800" b="1" dirty="0">
                <a:solidFill>
                  <a:srgbClr val="00463E"/>
                </a:solidFill>
              </a:rPr>
              <a:t> potential advocates </a:t>
            </a:r>
            <a:r>
              <a:rPr lang="en-GB" sz="800" dirty="0">
                <a:solidFill>
                  <a:srgbClr val="00463E"/>
                </a:solidFill>
              </a:rPr>
              <a:t>and influencers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6180614"/>
            <a:ext cx="192593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6180614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6180614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8608569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in 2nd/3rd line in a flexible approach. Persists within the sam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222180" y="84014"/>
            <a:ext cx="1222517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F58800"/>
                </a:solidFill>
                <a:latin typeface="Arial" panose="020B0604020202020204"/>
              </a:rPr>
              <a:t>SCIENCE FIRST</a:t>
            </a:r>
          </a:p>
          <a:p>
            <a:pPr algn="ctr" defTabSz="912505">
              <a:defRPr/>
            </a:pPr>
            <a:r>
              <a:rPr lang="en-GB" sz="798" dirty="0">
                <a:solidFill>
                  <a:srgbClr val="F58800"/>
                </a:solidFill>
                <a:latin typeface="Arial" panose="020B0604020202020204"/>
              </a:rPr>
              <a:t>(2 of 2)</a:t>
            </a:r>
            <a:r>
              <a:rPr lang="en-GB" sz="798" b="1" dirty="0">
                <a:solidFill>
                  <a:srgbClr val="F588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34448" y="21715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239616" y="4756516"/>
            <a:ext cx="2745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2154317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</a:t>
            </a:r>
            <a:r>
              <a:rPr lang="en-GB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onotherapy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2156146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2152448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2163745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baseline="0" dirty="0">
                <a:solidFill>
                  <a:srgbClr val="00463E"/>
                </a:solidFill>
              </a:rPr>
              <a:t>Identify</a:t>
            </a:r>
            <a:r>
              <a:rPr lang="en-GB" sz="800" b="1" dirty="0">
                <a:solidFill>
                  <a:srgbClr val="00463E"/>
                </a:solidFill>
              </a:rPr>
              <a:t> potential advocates </a:t>
            </a:r>
            <a:r>
              <a:rPr lang="en-GB" sz="800" dirty="0">
                <a:solidFill>
                  <a:srgbClr val="00463E"/>
                </a:solidFill>
              </a:rPr>
              <a:t>and influencers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4754756"/>
            <a:ext cx="1925930" cy="1883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efficac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SF 1 RTE 1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1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– SF 1 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KOL SELECTION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4730792"/>
            <a:ext cx="1879442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-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/safet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SF 2 RT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 SF 2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2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G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4730792"/>
            <a:ext cx="1891780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- convenience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Patient brochur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 SF 3 RT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3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SF 3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F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Real life patient cas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– Exhibition Booth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93514158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.</a:t>
            </a:r>
            <a:r>
              <a:rPr kumimoji="0" lang="en-GB" sz="800" b="0" i="0" u="none" strike="noStrike" kern="0" cap="none" spc="0" normalizeH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. I have candidates to trial JYSELECA first-line.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QoL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078752"/>
            <a:ext cx="1932115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dirty="0" err="1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from current limited 1</a:t>
            </a:r>
            <a:r>
              <a:rPr lang="en-US" sz="900" kern="0" baseline="300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line JAK inhibitor use to JYSELECA as their advanced treatment of choic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72844" y="2933143"/>
            <a:ext cx="10679429" cy="649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Use of steroid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Convenience as one driver for treatment choic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s with some therapi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80391" y="3629929"/>
            <a:ext cx="1923188" cy="24261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078752"/>
            <a:ext cx="188561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463E"/>
                </a:solidFill>
                <a:latin typeface="+mj-lt"/>
                <a:cs typeface="Arial" charset="0"/>
              </a:rPr>
              <a:t>Identify &amp; trial JYSELECA to achieve rapid control &amp; symptom relief for a patient who is struggling with their symptoms &amp; burden of treat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94427"/>
            <a:ext cx="187944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k all patients (naïve/ exp) whether they would prefer an oral treatment providing rapid efficacy &amp; the safety profile that the patient nee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94427"/>
            <a:ext cx="1891780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oose JYSELECA </a:t>
            </a:r>
            <a:b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as standard of care oral after first biologic failure as the most simple &amp; convenient solution for their pati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078752"/>
            <a:ext cx="1850151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 dirty="0">
                <a:solidFill>
                  <a:srgbClr val="00463E"/>
                </a:solidFill>
                <a:latin typeface="+mj-lt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3862" y="5954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3652068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 dirty="0">
                <a:solidFill>
                  <a:srgbClr val="00463E"/>
                </a:solidFill>
              </a:rPr>
              <a:t>Focus on rapid symptom relief, </a:t>
            </a:r>
            <a:br>
              <a:rPr lang="en-GB" sz="800" dirty="0">
                <a:solidFill>
                  <a:srgbClr val="00463E"/>
                </a:solidFill>
              </a:rPr>
            </a:br>
            <a:r>
              <a:rPr lang="en-GB" sz="800" dirty="0">
                <a:solidFill>
                  <a:srgbClr val="00463E"/>
                </a:solidFill>
              </a:rPr>
              <a:t>sustained efficacy and </a:t>
            </a:r>
            <a:r>
              <a:rPr lang="en-GB" sz="800" dirty="0" err="1">
                <a:solidFill>
                  <a:srgbClr val="00463E"/>
                </a:solidFill>
              </a:rPr>
              <a:t>QoL</a:t>
            </a:r>
            <a:r>
              <a:rPr lang="en-GB" sz="800" dirty="0">
                <a:solidFill>
                  <a:srgbClr val="00463E"/>
                </a:solidFill>
              </a:rPr>
              <a:t>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 dirty="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3653896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 dirty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3650199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es</a:t>
            </a:r>
            <a:endParaRPr lang="en-US" sz="800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 err="1">
                <a:solidFill>
                  <a:srgbClr val="00463E"/>
                </a:solidFill>
              </a:rPr>
              <a:t>Jyseleca</a:t>
            </a:r>
            <a:r>
              <a:rPr lang="en-US" sz="800" dirty="0">
                <a:solidFill>
                  <a:srgbClr val="00463E"/>
                </a:solidFill>
              </a:rPr>
              <a:t> is the simple solution for you and your patient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3661496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Identify potential advocates </a:t>
            </a:r>
            <a:r>
              <a:rPr lang="en-GB" sz="800" dirty="0">
                <a:solidFill>
                  <a:srgbClr val="00463E"/>
                </a:solidFill>
              </a:rPr>
              <a:t>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222180" y="84014"/>
            <a:ext cx="1216697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  <a:p>
            <a:pPr algn="ctr" defTabSz="912505">
              <a:defRPr/>
            </a:pPr>
            <a:r>
              <a:rPr lang="en-GB" sz="798" dirty="0">
                <a:solidFill>
                  <a:srgbClr val="C00000"/>
                </a:solidFill>
                <a:latin typeface="Arial" panose="020B0604020202020204"/>
              </a:rPr>
              <a:t>(1 of 2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D6669CD-718A-4546-A19B-4E27A6BB17D8}"/>
              </a:ext>
            </a:extLst>
          </p:cNvPr>
          <p:cNvSpPr/>
          <p:nvPr/>
        </p:nvSpPr>
        <p:spPr bwMode="auto">
          <a:xfrm>
            <a:off x="1395968" y="6086523"/>
            <a:ext cx="1932115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6086523"/>
            <a:ext cx="192593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6086523"/>
            <a:ext cx="1879442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6086523"/>
            <a:ext cx="189178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4180AA2-2857-4E01-B4B1-F57930F6CCD7}"/>
              </a:ext>
            </a:extLst>
          </p:cNvPr>
          <p:cNvSpPr/>
          <p:nvPr/>
        </p:nvSpPr>
        <p:spPr bwMode="auto">
          <a:xfrm>
            <a:off x="10232796" y="6086523"/>
            <a:ext cx="1850151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2802154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3801847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.</a:t>
            </a:r>
            <a:r>
              <a:rPr kumimoji="0" lang="en-GB" sz="800" b="0" i="0" u="none" strike="noStrike" kern="0" cap="none" spc="0" normalizeH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.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. I have candidates to trial JYSELECA first-line.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QoL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82372" y="213563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285460" y="4528860"/>
            <a:ext cx="2685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2130354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 dirty="0">
                <a:solidFill>
                  <a:srgbClr val="00463E"/>
                </a:solidFill>
              </a:rPr>
              <a:t>Focus on rapid symptom relief, </a:t>
            </a:r>
            <a:br>
              <a:rPr lang="en-GB" sz="800" dirty="0">
                <a:solidFill>
                  <a:srgbClr val="00463E"/>
                </a:solidFill>
              </a:rPr>
            </a:br>
            <a:r>
              <a:rPr lang="en-GB" sz="800" dirty="0">
                <a:solidFill>
                  <a:srgbClr val="00463E"/>
                </a:solidFill>
              </a:rPr>
              <a:t>sustained efficacy and </a:t>
            </a:r>
            <a:r>
              <a:rPr lang="en-GB" sz="800" dirty="0" err="1">
                <a:solidFill>
                  <a:srgbClr val="00463E"/>
                </a:solidFill>
              </a:rPr>
              <a:t>QoL</a:t>
            </a:r>
            <a:r>
              <a:rPr lang="en-GB" sz="800" dirty="0">
                <a:solidFill>
                  <a:srgbClr val="00463E"/>
                </a:solidFill>
              </a:rPr>
              <a:t>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 dirty="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2132182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 dirty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2128485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es</a:t>
            </a:r>
            <a:endParaRPr lang="en-US" sz="800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 err="1">
                <a:solidFill>
                  <a:srgbClr val="00463E"/>
                </a:solidFill>
              </a:rPr>
              <a:t>Jyseleca</a:t>
            </a:r>
            <a:r>
              <a:rPr lang="en-US" sz="800" dirty="0">
                <a:solidFill>
                  <a:srgbClr val="00463E"/>
                </a:solidFill>
              </a:rPr>
              <a:t> is the simple solution for you and your patient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2139782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Identify potential advocates </a:t>
            </a:r>
            <a:r>
              <a:rPr lang="en-GB" sz="800" dirty="0">
                <a:solidFill>
                  <a:srgbClr val="00463E"/>
                </a:solidFill>
              </a:rPr>
              <a:t>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222180" y="84014"/>
            <a:ext cx="1216697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  <a:p>
            <a:pPr algn="ctr" defTabSz="912505">
              <a:defRPr/>
            </a:pPr>
            <a:r>
              <a:rPr lang="en-GB" sz="798" dirty="0">
                <a:solidFill>
                  <a:srgbClr val="C00000"/>
                </a:solidFill>
                <a:latin typeface="Arial" panose="020B0604020202020204"/>
              </a:rPr>
              <a:t>(2 of 2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4564808"/>
            <a:ext cx="1925930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TS - </a:t>
            </a:r>
            <a:r>
              <a:rPr lang="en-GB" sz="900" dirty="0" err="1">
                <a:solidFill>
                  <a:srgbClr val="00463E"/>
                </a:solidFill>
              </a:rPr>
              <a:t>eDA</a:t>
            </a:r>
            <a:r>
              <a:rPr lang="en-GB" sz="900" dirty="0">
                <a:solidFill>
                  <a:srgbClr val="00463E"/>
                </a:solidFill>
              </a:rPr>
              <a:t> efficac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Email - PF 1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a - PF 1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a - PF 1 journal ad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Real life patient cases (bio-naïve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cal affairs activiti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4564808"/>
            <a:ext cx="1879442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TS - </a:t>
            </a:r>
            <a:r>
              <a:rPr lang="en-GB" sz="900" dirty="0" err="1">
                <a:solidFill>
                  <a:srgbClr val="00463E"/>
                </a:solidFill>
              </a:rPr>
              <a:t>eDA</a:t>
            </a:r>
            <a:r>
              <a:rPr lang="en-GB" sz="900" dirty="0">
                <a:solidFill>
                  <a:srgbClr val="00463E"/>
                </a:solidFill>
              </a:rPr>
              <a:t> convenience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Email - PF 2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a - PF 2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a - PF 2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Patient brochure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Real life patient cases (bio-naïve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cal affairs activiti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4564808"/>
            <a:ext cx="1891780" cy="21688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TS – </a:t>
            </a:r>
            <a:r>
              <a:rPr lang="en-GB" sz="900" dirty="0" err="1">
                <a:solidFill>
                  <a:srgbClr val="00463E"/>
                </a:solidFill>
              </a:rPr>
              <a:t>eDA</a:t>
            </a:r>
            <a:r>
              <a:rPr lang="en-GB" sz="900" dirty="0">
                <a:solidFill>
                  <a:srgbClr val="00463E"/>
                </a:solidFill>
              </a:rPr>
              <a:t> safet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Email – PF 3 RTE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a – PF 3 banner ad and emai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a – PF 3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Web –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P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OA video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RMM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Real life patient cas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463E"/>
                </a:solidFill>
              </a:rPr>
              <a:t>Medical affairs activiti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defRPr/>
            </a:pPr>
            <a:endParaRPr lang="en-GB" sz="900" dirty="0">
              <a:solidFill>
                <a:srgbClr val="00463E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defRPr/>
            </a:pPr>
            <a:endParaRPr lang="en-GB" sz="900" dirty="0">
              <a:solidFill>
                <a:srgbClr val="0046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872388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924747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</a:t>
            </a:r>
            <a:r>
              <a:rPr lang="en-US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 - 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s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art to use JYSELECA as first option after 1st biologic failure based on the positive feedback they have received from patients.</a:t>
            </a:r>
            <a:endParaRPr lang="en-GB" sz="1100" kern="0" dirty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MoAs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MoAs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are worth considering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222180" y="115496"/>
            <a:ext cx="1242377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  <a:p>
            <a:pPr algn="ctr" defTabSz="912505">
              <a:defRPr/>
            </a:pPr>
            <a:r>
              <a:rPr lang="en-GB" sz="798" dirty="0">
                <a:solidFill>
                  <a:srgbClr val="66CCFF"/>
                </a:solidFill>
                <a:latin typeface="Arial" panose="020B0604020202020204"/>
              </a:rPr>
              <a:t>(1 of 2)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F5146EE-94BC-47A5-BA02-91C5512998CE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8E03C21-01E5-4530-A5F1-548AFB23357D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5800167D-90A5-4545-835C-9AABEC85C0AF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C2F86C-BAE1-405C-A2E0-ADB8FCA96A3D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B8F91DA-26F7-493F-86FA-55F6D67C4258}"/>
              </a:ext>
            </a:extLst>
          </p:cNvPr>
          <p:cNvSpPr/>
          <p:nvPr/>
        </p:nvSpPr>
        <p:spPr bwMode="auto">
          <a:xfrm>
            <a:off x="1360507" y="2078752"/>
            <a:ext cx="1932115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se a cautious step-up</a:t>
            </a:r>
          </a:p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pproach &amp; very rare use of JAK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0DD4D18-F611-4F82-91F3-E324EF9E2C37}"/>
              </a:ext>
            </a:extLst>
          </p:cNvPr>
          <p:cNvSpPr/>
          <p:nvPr/>
        </p:nvSpPr>
        <p:spPr bwMode="auto">
          <a:xfrm>
            <a:off x="1372844" y="2969089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Satisfied with current therapie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Anti-TNFs effective &amp; saf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j-lt"/>
                <a:ea typeface="+mn-ea"/>
                <a:cs typeface="+mn-cs"/>
              </a:rPr>
              <a:t>Safety concern about Jak Clas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678A705-D2BD-43BB-AB88-CB693A35DF87}"/>
              </a:ext>
            </a:extLst>
          </p:cNvPr>
          <p:cNvSpPr/>
          <p:nvPr/>
        </p:nvSpPr>
        <p:spPr bwMode="auto">
          <a:xfrm>
            <a:off x="1389777" y="3638218"/>
            <a:ext cx="2032814" cy="244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463E"/>
              </a:solidFill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Detailed in 2,3,4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36FD7-F6A4-423B-A455-D4AFA904C5DF}"/>
              </a:ext>
            </a:extLst>
          </p:cNvPr>
          <p:cNvSpPr/>
          <p:nvPr/>
        </p:nvSpPr>
        <p:spPr bwMode="auto">
          <a:xfrm>
            <a:off x="3573437" y="2078752"/>
            <a:ext cx="188561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pen to discuss JYSELECA as a safe &amp; simple option in their treatment paradigm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14D897-4E28-44DB-B2BC-651B5989D9C7}"/>
              </a:ext>
            </a:extLst>
          </p:cNvPr>
          <p:cNvSpPr/>
          <p:nvPr/>
        </p:nvSpPr>
        <p:spPr bwMode="auto">
          <a:xfrm>
            <a:off x="5781404" y="2094427"/>
            <a:ext cx="187944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rial JYSELECA in a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line treatment based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n peer-feedback reassuring on the safety profile – develop a case study on this patien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3AC7511-D7E5-436F-A9AA-CA8EA8D5A0AE}"/>
              </a:ext>
            </a:extLst>
          </p:cNvPr>
          <p:cNvSpPr/>
          <p:nvPr/>
        </p:nvSpPr>
        <p:spPr bwMode="auto">
          <a:xfrm>
            <a:off x="7983201" y="2094427"/>
            <a:ext cx="1891780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pand use of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JYSELECA in 3rd line – tried and tested based on their own experien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7F9B15A-B623-4166-9408-29CF24F92AB8}"/>
              </a:ext>
            </a:extLst>
          </p:cNvPr>
          <p:cNvSpPr/>
          <p:nvPr/>
        </p:nvSpPr>
        <p:spPr bwMode="auto">
          <a:xfrm>
            <a:off x="10197335" y="2078752"/>
            <a:ext cx="1850151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art to use JYSELECA as the first option after 1st biologic failure based on the positive feedback they have received from their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33862" y="608652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98283" y="3619766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Benefits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816173" y="3641914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</a:t>
            </a:r>
            <a:r>
              <a:rPr lang="en-GB" sz="800" dirty="0" err="1">
                <a:solidFill>
                  <a:srgbClr val="00463E"/>
                </a:solidFill>
                <a:ea typeface="Arial" charset="0"/>
                <a:cs typeface="Arial" charset="0"/>
              </a:rPr>
              <a:t>llow</a:t>
            </a: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8008046" y="3638217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Convenience Messaging Objective: </a:t>
            </a:r>
            <a:r>
              <a:rPr lang="en-US" sz="800" dirty="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222180" y="3649514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CEFD19-A6CF-4CC3-AE26-C15DCA24EBEF}"/>
              </a:ext>
            </a:extLst>
          </p:cNvPr>
          <p:cNvSpPr/>
          <p:nvPr/>
        </p:nvSpPr>
        <p:spPr bwMode="auto">
          <a:xfrm>
            <a:off x="1489962" y="6182260"/>
            <a:ext cx="1932115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822332" y="618226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8024129" y="6182260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C01CC87-EF6F-4704-9BC9-8168F3BA514D}"/>
              </a:ext>
            </a:extLst>
          </p:cNvPr>
          <p:cNvSpPr/>
          <p:nvPr/>
        </p:nvSpPr>
        <p:spPr bwMode="auto">
          <a:xfrm>
            <a:off x="10238263" y="6182260"/>
            <a:ext cx="1850151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602526" y="619088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4220654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</a:t>
            </a:r>
            <a:r>
              <a:rPr lang="en-US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 - s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art to use JYSELECA as first option after 1st biologic failure based on the positive feedback they have received from patients</a:t>
            </a:r>
            <a:endParaRPr lang="en-GB" sz="1100" kern="0" dirty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MoAs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</a:t>
            </a:r>
            <a:r>
              <a:rPr kumimoji="0" lang="en-GB" sz="80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iologic failure.</a:t>
            </a:r>
            <a:endParaRPr kumimoji="0" lang="en-GB" sz="800" i="0" u="none" strike="noStrike" kern="0" cap="none" spc="0" normalizeH="0" baseline="0" noProof="0" dirty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.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MoAs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are worth considering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204492" y="115496"/>
            <a:ext cx="1260065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  <a:p>
            <a:pPr algn="ctr" defTabSz="912505">
              <a:defRPr/>
            </a:pPr>
            <a:r>
              <a:rPr lang="en-GB" sz="798" dirty="0">
                <a:solidFill>
                  <a:srgbClr val="66CCFF"/>
                </a:solidFill>
                <a:latin typeface="Arial" panose="020B0604020202020204"/>
              </a:rPr>
              <a:t>(2 of 2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24548" y="214766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215655" y="4672691"/>
            <a:ext cx="32228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 / Channel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64421" y="2122062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Benefits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782311" y="2144210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</a:t>
            </a:r>
            <a:r>
              <a:rPr lang="en-GB" sz="800" dirty="0" err="1">
                <a:solidFill>
                  <a:srgbClr val="00463E"/>
                </a:solidFill>
                <a:ea typeface="Arial" charset="0"/>
                <a:cs typeface="Arial" charset="0"/>
              </a:rPr>
              <a:t>llow</a:t>
            </a: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7974184" y="2140513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Convenience Messaging Objective: </a:t>
            </a:r>
            <a:r>
              <a:rPr lang="en-US" sz="800" dirty="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188318" y="2151810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788470" y="4684556"/>
            <a:ext cx="1879442" cy="21734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TS - </a:t>
            </a:r>
            <a:r>
              <a:rPr lang="en-GB" sz="900" dirty="0" err="1">
                <a:solidFill>
                  <a:srgbClr val="000000"/>
                </a:solidFill>
              </a:rPr>
              <a:t>eDA</a:t>
            </a:r>
            <a:r>
              <a:rPr lang="en-GB" sz="900" dirty="0">
                <a:solidFill>
                  <a:srgbClr val="000000"/>
                </a:solidFill>
              </a:rPr>
              <a:t> - safety benefits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Email - FF 2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a -  FF 2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a - FF 2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Web - JYSELECA HCP Portal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Real life patient cases (bio-experienced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Conference - 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cal affairs activiti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SzTx/>
              <a:buFont typeface="Arial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7990267" y="4684556"/>
            <a:ext cx="1891780" cy="21734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TS  - </a:t>
            </a:r>
            <a:r>
              <a:rPr lang="en-GB" sz="900" dirty="0" err="1">
                <a:solidFill>
                  <a:srgbClr val="000000"/>
                </a:solidFill>
              </a:rPr>
              <a:t>eDA</a:t>
            </a:r>
            <a:r>
              <a:rPr lang="en-GB" sz="900" dirty="0">
                <a:solidFill>
                  <a:srgbClr val="000000"/>
                </a:solidFill>
              </a:rPr>
              <a:t> - convenience and safety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TS - patient brochur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Email - FF 3 RT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a - FF 3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a - FF 3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Web - JYSELECA HCP Portal 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FAQ Podcasts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Real life patient cases (bio-experienced)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Conference – Exhibition Booth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cal affairs activiti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568664" y="4693176"/>
            <a:ext cx="1879442" cy="2164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TS - </a:t>
            </a:r>
            <a:r>
              <a:rPr lang="en-GB" sz="900" dirty="0" err="1">
                <a:solidFill>
                  <a:srgbClr val="000000"/>
                </a:solidFill>
              </a:rPr>
              <a:t>eDA</a:t>
            </a:r>
            <a:r>
              <a:rPr lang="en-GB" sz="900" dirty="0">
                <a:solidFill>
                  <a:srgbClr val="000000"/>
                </a:solidFill>
              </a:rPr>
              <a:t> - unmet needs and efficacy/safety benefit pages &amp; leave behin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Email - FF 1 RTE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a - FF 1 email and banner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Media - FF 1 journal ad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Web - JYSELECA HCP Portal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FF self-led DA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dirty="0">
                <a:solidFill>
                  <a:srgbClr val="000000"/>
                </a:solidFill>
              </a:rPr>
              <a:t>FAQ Podcast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Conference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 - </a:t>
            </a:r>
            <a:r>
              <a:rPr kumimoji="0" lang="en-GB" sz="9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Exhibition Booth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800000"/>
              </a:buClr>
              <a:buFont typeface="Arial"/>
              <a:buChar char="•"/>
              <a:defRPr/>
            </a:pPr>
            <a:r>
              <a:rPr lang="en-GB" sz="900" baseline="0" dirty="0">
                <a:solidFill>
                  <a:srgbClr val="000000"/>
                </a:solidFill>
                <a:latin typeface="Tahoma"/>
              </a:rPr>
              <a:t>Medical affairs activities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8455243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155A6-5BBF-4778-8054-78F21C3980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t Overview by Segment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6B853A0-1C8E-4372-9D58-7E369A146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078187"/>
              </p:ext>
            </p:extLst>
          </p:nvPr>
        </p:nvGraphicFramePr>
        <p:xfrm>
          <a:off x="597299" y="909143"/>
          <a:ext cx="10501376" cy="5164107"/>
        </p:xfrm>
        <a:graphic>
          <a:graphicData uri="http://schemas.openxmlformats.org/drawingml/2006/table">
            <a:tbl>
              <a:tblPr/>
              <a:tblGrid>
                <a:gridCol w="736938">
                  <a:extLst>
                    <a:ext uri="{9D8B030D-6E8A-4147-A177-3AD203B41FA5}">
                      <a16:colId xmlns:a16="http://schemas.microsoft.com/office/drawing/2014/main" val="1482399663"/>
                    </a:ext>
                  </a:extLst>
                </a:gridCol>
                <a:gridCol w="626643">
                  <a:extLst>
                    <a:ext uri="{9D8B030D-6E8A-4147-A177-3AD203B41FA5}">
                      <a16:colId xmlns:a16="http://schemas.microsoft.com/office/drawing/2014/main" val="511594556"/>
                    </a:ext>
                  </a:extLst>
                </a:gridCol>
                <a:gridCol w="1529986">
                  <a:extLst>
                    <a:ext uri="{9D8B030D-6E8A-4147-A177-3AD203B41FA5}">
                      <a16:colId xmlns:a16="http://schemas.microsoft.com/office/drawing/2014/main" val="890448452"/>
                    </a:ext>
                  </a:extLst>
                </a:gridCol>
                <a:gridCol w="1843134">
                  <a:extLst>
                    <a:ext uri="{9D8B030D-6E8A-4147-A177-3AD203B41FA5}">
                      <a16:colId xmlns:a16="http://schemas.microsoft.com/office/drawing/2014/main" val="1988524465"/>
                    </a:ext>
                  </a:extLst>
                </a:gridCol>
                <a:gridCol w="1717040">
                  <a:extLst>
                    <a:ext uri="{9D8B030D-6E8A-4147-A177-3AD203B41FA5}">
                      <a16:colId xmlns:a16="http://schemas.microsoft.com/office/drawing/2014/main" val="451513667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346090405"/>
                    </a:ext>
                  </a:extLst>
                </a:gridCol>
                <a:gridCol w="1452880">
                  <a:extLst>
                    <a:ext uri="{9D8B030D-6E8A-4147-A177-3AD203B41FA5}">
                      <a16:colId xmlns:a16="http://schemas.microsoft.com/office/drawing/2014/main" val="69821660"/>
                    </a:ext>
                  </a:extLst>
                </a:gridCol>
                <a:gridCol w="1019955">
                  <a:extLst>
                    <a:ext uri="{9D8B030D-6E8A-4147-A177-3AD203B41FA5}">
                      <a16:colId xmlns:a16="http://schemas.microsoft.com/office/drawing/2014/main" val="1615909807"/>
                    </a:ext>
                  </a:extLst>
                </a:gridCol>
              </a:tblGrid>
              <a:tr h="34584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uss JYSELECA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 JYSELECA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K ALL PATIENTS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</a:t>
                      </a:r>
                      <a:r>
                        <a:rPr lang="en-GB" sz="9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D</a:t>
                      </a:r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INE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65922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First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JAKs for a limited number of patients and use steroids for quick symptom relief &amp; QoL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eave behin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Email - rep-triggered – Patient 1</a:t>
                      </a:r>
                      <a:r>
                        <a:rPr kumimoji="0" lang="en-US" sz="7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- banner ad and email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Web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–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JYSELECA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HCP incl. Patient 1</a:t>
                      </a:r>
                      <a:r>
                        <a:rPr kumimoji="0" lang="en-US" sz="7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AQ Podcasts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-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apid symptom relief, QoL over time, CS-free remission,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tc.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 patient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-series 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eave behin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– rep-triggered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2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-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– patient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b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ochure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p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atient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-series 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eave behind 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Email – rep-triggered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– Patient 1</a:t>
                      </a:r>
                      <a:r>
                        <a:rPr kumimoji="0" lang="en-US" sz="7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3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-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Web/video – JYSELECA HCP incl. MOA video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Web – RMM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 - integrated safety profile (TBC) 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-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r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eal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: </a:t>
                      </a:r>
                      <a:r>
                        <a:rPr lang="en-GB" sz="7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934401"/>
                  </a:ext>
                </a:extLst>
              </a:tr>
              <a:tr h="1394898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ience First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s JAK inhibitors  n 2nd/3rd line in a flexible approach. Persists within the same tx class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alt efficacy page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Leave behin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Video - KOL SELECTION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 - Histological Remission, Endoscopic Remission, CS-free remission(TBC)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o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and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Leave Behind: Safety and MOA</a:t>
                      </a:r>
                      <a:endParaRPr lang="en-US" sz="700" dirty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Video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oA</a:t>
                      </a:r>
                      <a:endParaRPr lang="en-US" sz="700" dirty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: integrated safety profile (TBC) 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- convenience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Leave Behind: Convenience &amp;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brochure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Other: Patient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-series (TBC);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: </a:t>
                      </a:r>
                      <a:r>
                        <a:rPr lang="en-GB" sz="7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566184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iarity First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a cautious step-up approach &amp; very rare use of JAKs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– unmet needs and benefit summar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Leave behind – JYSELECA benefit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email and banner ad –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: Histological Remission, Endoscopic Remission, CS-free remission(TBC)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– safety benefit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– Leave behind – JYSELECA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Email – RTE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email and banner ad –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AQ Podcasts: Histological Remission, Endoscopic Remission, CS-free remission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Other: Patient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-series (TBC):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– safety benefit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– Leave behind – JYSELECA convenience &amp;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– Patient brochure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Email – RTE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email and banner ad –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AQ Podcasts: Histological Remission, Endoscopic Remission, CS-free remission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Other: Patient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-series (TBC): Real life patient cases</a:t>
                      </a:r>
                    </a:p>
                    <a:p>
                      <a:pPr algn="l" fontAlgn="t"/>
                      <a:endParaRPr lang="en-GB" sz="700" b="0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: </a:t>
                      </a:r>
                      <a:r>
                        <a:rPr lang="en-GB" sz="8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0772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627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26DA361-D3D0-488A-AC45-386F4B524A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441960"/>
              </p:ext>
            </p:extLst>
          </p:nvPr>
        </p:nvGraphicFramePr>
        <p:xfrm>
          <a:off x="0" y="954812"/>
          <a:ext cx="12192000" cy="4319831"/>
        </p:xfrm>
        <a:graphic>
          <a:graphicData uri="http://schemas.openxmlformats.org/drawingml/2006/table">
            <a:tbl>
              <a:tblPr/>
              <a:tblGrid>
                <a:gridCol w="736938">
                  <a:extLst>
                    <a:ext uri="{9D8B030D-6E8A-4147-A177-3AD203B41FA5}">
                      <a16:colId xmlns:a16="http://schemas.microsoft.com/office/drawing/2014/main" val="1482399663"/>
                    </a:ext>
                  </a:extLst>
                </a:gridCol>
                <a:gridCol w="1094571">
                  <a:extLst>
                    <a:ext uri="{9D8B030D-6E8A-4147-A177-3AD203B41FA5}">
                      <a16:colId xmlns:a16="http://schemas.microsoft.com/office/drawing/2014/main" val="511594556"/>
                    </a:ext>
                  </a:extLst>
                </a:gridCol>
                <a:gridCol w="1062058">
                  <a:extLst>
                    <a:ext uri="{9D8B030D-6E8A-4147-A177-3AD203B41FA5}">
                      <a16:colId xmlns:a16="http://schemas.microsoft.com/office/drawing/2014/main" val="890448452"/>
                    </a:ext>
                  </a:extLst>
                </a:gridCol>
                <a:gridCol w="1365504">
                  <a:extLst>
                    <a:ext uri="{9D8B030D-6E8A-4147-A177-3AD203B41FA5}">
                      <a16:colId xmlns:a16="http://schemas.microsoft.com/office/drawing/2014/main" val="1988524465"/>
                    </a:ext>
                  </a:extLst>
                </a:gridCol>
                <a:gridCol w="1517227">
                  <a:extLst>
                    <a:ext uri="{9D8B030D-6E8A-4147-A177-3AD203B41FA5}">
                      <a16:colId xmlns:a16="http://schemas.microsoft.com/office/drawing/2014/main" val="45151366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346090405"/>
                    </a:ext>
                  </a:extLst>
                </a:gridCol>
                <a:gridCol w="1658112">
                  <a:extLst>
                    <a:ext uri="{9D8B030D-6E8A-4147-A177-3AD203B41FA5}">
                      <a16:colId xmlns:a16="http://schemas.microsoft.com/office/drawing/2014/main" val="69821660"/>
                    </a:ext>
                  </a:extLst>
                </a:gridCol>
                <a:gridCol w="1441366">
                  <a:extLst>
                    <a:ext uri="{9D8B030D-6E8A-4147-A177-3AD203B41FA5}">
                      <a16:colId xmlns:a16="http://schemas.microsoft.com/office/drawing/2014/main" val="1615909807"/>
                    </a:ext>
                  </a:extLst>
                </a:gridCol>
                <a:gridCol w="1690624">
                  <a:extLst>
                    <a:ext uri="{9D8B030D-6E8A-4147-A177-3AD203B41FA5}">
                      <a16:colId xmlns:a16="http://schemas.microsoft.com/office/drawing/2014/main" val="3064605023"/>
                    </a:ext>
                  </a:extLst>
                </a:gridCol>
              </a:tblGrid>
              <a:tr h="34584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1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2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3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4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5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Type / Jyseleca Positioning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65922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Firs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JAKs for a limited number of patients and use steroids for quick symptom relief &amp; QoL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 JYSELECA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Identify &amp; trial JYSELECA to achieve rapid control &amp; symptom relief for a patient who is struggling with their symptoms &amp; burden of treatment 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K ALL PATIEN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: Ask all patients (naïve/ exp) whether they would prefer an oral treatment (providing rapid efficacy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amp; the safety profile that the patient needs)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Choose JYSELECA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standard of care oral after first biologic failure as the most simple &amp; convenient solution for their patien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 - naïve / 1st Lin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2934401"/>
                  </a:ext>
                </a:extLst>
              </a:tr>
              <a:tr h="1364090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ience Firs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s JAK inhibitors  n 2nd/3rd line in a flexible approach. Persists within the same tx clas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 JYSELECA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Identify &amp; trial JYSELECA in a patient who would benefit from a new mode of action and reassured by the mucosal healing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amp; histologic remission achieved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Identify a wider pool of patients who are not adequately controlled &amp; use JYSELECA to achieve mucosal healing &amp; long-term result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Expand usage of JYSELECA as oral, that do not need steroid and provides the depth of sustained remission that they are looking for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 - naïve / 1st Lin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566184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iarity Firs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a cautious step-up approach &amp; very rare use of JAK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USS JYSELECA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Open to discuss JYSELECA as a safe &amp; simple option in their treatment paradigm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al JYSELECA in 3rd lin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Trial JYSELECA in a 3rd line treatment based on peer-feedback reassuring on the safety profile – develop a case study on this patien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 and build confidence: 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 of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YSELECA in 3rd line – tried and tested based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their own experience</a:t>
                      </a:r>
                      <a:endParaRPr lang="en-GB" sz="900" b="0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Start to use JYSELECA as the first option after </a:t>
                      </a:r>
                      <a:b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st biologic failure based on the positive feedback they have received from their patient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 - Experience - 1st Biologic Failure / 2nd Lin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077250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A9FA627-27E5-4111-B630-9B641D31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</p:spPr>
        <p:txBody>
          <a:bodyPr/>
          <a:lstStyle/>
          <a:p>
            <a:r>
              <a:rPr lang="en-US" sz="2800" dirty="0"/>
              <a:t>Adoption Ladder – summarized objectives by segment</a:t>
            </a:r>
            <a:endParaRPr lang="en-GB" sz="2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9A643D-A005-45C3-A8BD-9B359B5AAD9A}"/>
              </a:ext>
            </a:extLst>
          </p:cNvPr>
          <p:cNvSpPr txBox="1"/>
          <p:nvPr/>
        </p:nvSpPr>
        <p:spPr>
          <a:xfrm>
            <a:off x="3149600" y="5455920"/>
            <a:ext cx="8615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This table was created and provided by the client.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35595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0CB55F-CD9A-4CED-AB23-CB929CAF2177}">
  <ds:schemaRefs>
    <ds:schemaRef ds:uri="http://schemas.openxmlformats.org/package/2006/metadata/core-properties"/>
    <ds:schemaRef ds:uri="http://purl.org/dc/elements/1.1/"/>
    <ds:schemaRef ds:uri="0d8c423f-ad67-45a2-8b05-97a43a5b7821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terms/"/>
    <ds:schemaRef ds:uri="ead0e857-dec6-4b1e-afd3-48dbfac7dd48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6D7C8D0-A312-4DFF-9B5D-A2964A9FF6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75A06D-D3D8-48DD-A3A1-66F349905A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798</TotalTime>
  <Words>5401</Words>
  <Application>Microsoft Office PowerPoint</Application>
  <PresentationFormat>Widescreen</PresentationFormat>
  <Paragraphs>782</Paragraphs>
  <Slides>12</Slides>
  <Notes>1</Notes>
  <HiddenSlides>5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Tahoma</vt:lpstr>
      <vt:lpstr>Times</vt:lpstr>
      <vt:lpstr>Wingdings</vt:lpstr>
      <vt:lpstr>Galapagos_template_Basic</vt:lpstr>
      <vt:lpstr>think-cell Slide</vt:lpstr>
      <vt:lpstr>IBD Adoption Ladder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sset Overview by Segment</vt:lpstr>
      <vt:lpstr>Adoption Ladder – summarized objectives by segment</vt:lpstr>
      <vt:lpstr>Appendix: RA Exampl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Alexander Richwood</cp:lastModifiedBy>
  <cp:revision>25</cp:revision>
  <dcterms:created xsi:type="dcterms:W3CDTF">2021-03-30T17:37:20Z</dcterms:created>
  <dcterms:modified xsi:type="dcterms:W3CDTF">2021-05-04T12:2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